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9509EB48-F72A-4ECB-8803-23A8A0A7F0C9}">
          <p14:sldIdLst>
            <p14:sldId id="2147475173"/>
            <p14:sldId id="2147475174"/>
            <p14:sldId id="2147475175"/>
            <p14:sldId id="2147475176"/>
            <p14:sldId id="2147475177"/>
            <p14:sldId id="2147475178"/>
            <p14:sldId id="2147475179"/>
            <p14:sldId id="2147475180"/>
            <p14:sldId id="2147475181"/>
          </p14:sldIdLst>
        </p14:section>
        <p14:section name="Brackets By Sector" id="{FB58B2D1-5D79-4EE3-BEB4-1167D3A399E1}">
          <p14:sldIdLst>
            <p14:sldId id="2147475182"/>
            <p14:sldId id="2147475183"/>
            <p14:sldId id="2147475184"/>
            <p14:sldId id="2147475185"/>
            <p14:sldId id="2147475186"/>
            <p14:sldId id="2147475187"/>
            <p14:sldId id="2147475188"/>
            <p14:sldId id="2147475189"/>
            <p14:sldId id="2147475190"/>
          </p14:sldIdLst>
        </p14:section>
        <p14:section name="Brackets By Segment" id="{6CB43AC0-F864-4FD1-B464-F02973DB012C}">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6238663212041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03720563311543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24675803263293</c:v>
                </c:pt>
                <c:pt idx="3">
                  <c:v>0.97575175659699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92336441342121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00306545873434</c:v>
                </c:pt>
                <c:pt idx="3">
                  <c:v>0.99683976166583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841718719271108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871709021879724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04130127492609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951882130535129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24675803263293</c:v>
                </c:pt>
                <c:pt idx="3">
                  <c:v>0.97575175659699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48429494341261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2125005601838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839518770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01639091008389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874048582137170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4949366715038213</c:v>
                </c:pt>
                <c:pt idx="3">
                  <c:v>0.995050633284961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0855829499012922</c:v>
                </c:pt>
                <c:pt idx="3">
                  <c:v>0.98914410501157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2651766424201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14545441061343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152259190268123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97359287495413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844903887319036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4263001957966992</c:v>
                </c:pt>
                <c:pt idx="3">
                  <c:v>0.957369980420330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8791896987706017</c:v>
                </c:pt>
                <c:pt idx="3">
                  <c:v>0.912080303065722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839518770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4302626851865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4949366715038213</c:v>
                </c:pt>
                <c:pt idx="3">
                  <c:v>0.995050633284961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664446774705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0855829499012922</c:v>
                </c:pt>
                <c:pt idx="3">
                  <c:v>0.98914410501157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319490077683078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96083072977285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4263001957966992</c:v>
                </c:pt>
                <c:pt idx="3">
                  <c:v>0.957369980420330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8791896987706017</c:v>
                </c:pt>
                <c:pt idx="3">
                  <c:v>0.912080303065722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839518770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45684670247308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4949366715038213</c:v>
                </c:pt>
                <c:pt idx="3">
                  <c:v>0.995050633284961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12043020974010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0855829499012922</c:v>
                </c:pt>
                <c:pt idx="3">
                  <c:v>0.98914410501157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068749416864873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90875868009677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67055189224631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7426625949237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4263001957966992</c:v>
                </c:pt>
                <c:pt idx="3">
                  <c:v>0.957369980420330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61470956453709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8791896987706017</c:v>
                </c:pt>
                <c:pt idx="3">
                  <c:v>0.912080303065722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822353929807463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66867181605193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152299089699222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0869400266192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265436270880462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00306545873434</c:v>
                </c:pt>
                <c:pt idx="3">
                  <c:v>0.99683976166583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5910159480123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023279279617345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24675803263293</c:v>
                </c:pt>
                <c:pt idx="3">
                  <c:v>0.97575175659699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9915621866454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00306545873434</c:v>
                </c:pt>
                <c:pt idx="3">
                  <c:v>0.99683976166583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22374093859863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957735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128726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248937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061830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330842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865869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404930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152973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90628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542696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990723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623543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131704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157311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703114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7354795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343338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1568408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098653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9381668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5080196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523979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132651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756472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978450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786373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200642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48891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3106885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004122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916879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830866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120066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624325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408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359931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1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